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256" r:id="rId5"/>
    <p:sldId id="2439" r:id="rId6"/>
    <p:sldId id="2440" r:id="rId7"/>
    <p:sldId id="260" r:id="rId8"/>
    <p:sldId id="2441" r:id="rId9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F400"/>
    <a:srgbClr val="05EE55"/>
    <a:srgbClr val="038B30"/>
    <a:srgbClr val="2F3342"/>
    <a:srgbClr val="05D74D"/>
    <a:srgbClr val="663300"/>
    <a:srgbClr val="04C0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84948" autoAdjust="0"/>
  </p:normalViewPr>
  <p:slideViewPr>
    <p:cSldViewPr snapToGrid="0">
      <p:cViewPr varScale="1">
        <p:scale>
          <a:sx n="86" d="100"/>
          <a:sy n="86" d="100"/>
        </p:scale>
        <p:origin x="562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60" d="100"/>
          <a:sy n="60" d="100"/>
        </p:scale>
        <p:origin x="3187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54265FD-4E3F-4008-BF0D-92438DDF38E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11FABC-D2A4-4DDD-AE15-415703DDD3E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CB9CF0-A540-4793-A5F3-F4917CFDDCB6}" type="datetimeFigureOut">
              <a:rPr lang="en-US" smtClean="0"/>
              <a:t>8/27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EBBAB0-AE2E-4EA6-BE3D-A8C4DA40070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1D462F-4914-49FC-A851-7FFFE9D6E86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422B72-BD1C-4F41-B10E-CA0BEB17901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19076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A03753-A5BE-4D79-AEA9-C0A65A6F8851}" type="datetimeFigureOut">
              <a:rPr lang="en-US" smtClean="0"/>
              <a:t>8/27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3BE989-76B8-4F13-9267-01FDA45C437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7300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3BE989-76B8-4F13-9267-01FDA45C437A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1080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3BE989-76B8-4F13-9267-01FDA45C437A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4648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9FB41AE7-07AD-43D7-9418-6D32BE5E31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71015" y="0"/>
            <a:ext cx="12263015" cy="6858000"/>
          </a:xfrm>
          <a:solidFill>
            <a:schemeClr val="bg1">
              <a:lumMod val="5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6D6A0C-E2C3-43CB-83D0-B5F6221079CA}"/>
              </a:ext>
            </a:extLst>
          </p:cNvPr>
          <p:cNvGrpSpPr/>
          <p:nvPr userDrawn="1"/>
        </p:nvGrpSpPr>
        <p:grpSpPr>
          <a:xfrm flipH="1">
            <a:off x="2076202" y="1374276"/>
            <a:ext cx="7324426" cy="3883523"/>
            <a:chOff x="252031" y="-22763"/>
            <a:chExt cx="7324426" cy="726996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DC96296-0FBF-47A5-9D6A-5D9BB647A4D7}"/>
                </a:ext>
              </a:extLst>
            </p:cNvPr>
            <p:cNvSpPr/>
            <p:nvPr userDrawn="1"/>
          </p:nvSpPr>
          <p:spPr>
            <a:xfrm>
              <a:off x="979714" y="1181211"/>
              <a:ext cx="6117771" cy="6065990"/>
            </a:xfrm>
            <a:prstGeom prst="rect">
              <a:avLst/>
            </a:prstGeom>
            <a:gradFill>
              <a:gsLst>
                <a:gs pos="0">
                  <a:srgbClr val="038B30">
                    <a:alpha val="70000"/>
                  </a:srgbClr>
                </a:gs>
                <a:gs pos="100000">
                  <a:srgbClr val="C0F400">
                    <a:alpha val="70000"/>
                  </a:srgbClr>
                </a:gs>
                <a:gs pos="50000">
                  <a:srgbClr val="05EE55">
                    <a:alpha val="70000"/>
                  </a:srgb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997D03F-0BE2-458F-92A2-4FE73B0FBF51}"/>
                </a:ext>
              </a:extLst>
            </p:cNvPr>
            <p:cNvSpPr/>
            <p:nvPr userDrawn="1"/>
          </p:nvSpPr>
          <p:spPr>
            <a:xfrm>
              <a:off x="500743" y="-22763"/>
              <a:ext cx="7075714" cy="5878284"/>
            </a:xfrm>
            <a:prstGeom prst="rect">
              <a:avLst/>
            </a:prstGeom>
            <a:noFill/>
            <a:ln w="1270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3F17719-10FE-433E-9CCC-4509DE17F22A}"/>
                </a:ext>
              </a:extLst>
            </p:cNvPr>
            <p:cNvSpPr/>
            <p:nvPr userDrawn="1"/>
          </p:nvSpPr>
          <p:spPr>
            <a:xfrm>
              <a:off x="252031" y="655467"/>
              <a:ext cx="6475341" cy="5701790"/>
            </a:xfrm>
            <a:prstGeom prst="rect">
              <a:avLst/>
            </a:prstGeom>
            <a:solidFill>
              <a:srgbClr val="2F33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DE73F1A-AAF0-4EB4-8DF0-C152BD93C6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91372" y="2238426"/>
            <a:ext cx="6609256" cy="1508126"/>
          </a:xfrm>
        </p:spPr>
        <p:txBody>
          <a:bodyPr anchor="b">
            <a:normAutofit/>
          </a:bodyPr>
          <a:lstStyle>
            <a:lvl1pPr algn="ctr">
              <a:defRPr sz="4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075AE6-92D3-4205-B268-E1AD6C5901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791372" y="3838627"/>
            <a:ext cx="6609256" cy="450503"/>
          </a:xfrm>
        </p:spPr>
        <p:txBody>
          <a:bodyPr/>
          <a:lstStyle>
            <a:lvl1pPr marL="0" indent="0" algn="ctr">
              <a:buNone/>
              <a:defRPr sz="2400" spc="3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68616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6EDCBFD0-7AE5-4346-AD3A-01F956626091}"/>
              </a:ext>
            </a:extLst>
          </p:cNvPr>
          <p:cNvSpPr/>
          <p:nvPr userDrawn="1"/>
        </p:nvSpPr>
        <p:spPr>
          <a:xfrm>
            <a:off x="4430484" y="0"/>
            <a:ext cx="2873833" cy="5426414"/>
          </a:xfrm>
          <a:prstGeom prst="rect">
            <a:avLst/>
          </a:prstGeom>
          <a:noFill/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1F4A2F-9480-4E94-806C-5D65C71DFB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884" y="0"/>
            <a:ext cx="3834596" cy="1124404"/>
          </a:xfrm>
        </p:spPr>
        <p:txBody>
          <a:bodyPr>
            <a:no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C3A4379-5E89-42FE-AA5C-BEA0CDFCDD6F}"/>
              </a:ext>
            </a:extLst>
          </p:cNvPr>
          <p:cNvSpPr/>
          <p:nvPr userDrawn="1"/>
        </p:nvSpPr>
        <p:spPr>
          <a:xfrm>
            <a:off x="4887684" y="1431586"/>
            <a:ext cx="2873833" cy="5426414"/>
          </a:xfrm>
          <a:prstGeom prst="rect">
            <a:avLst/>
          </a:prstGeom>
          <a:gradFill>
            <a:gsLst>
              <a:gs pos="0">
                <a:srgbClr val="038B30">
                  <a:alpha val="70000"/>
                </a:srgbClr>
              </a:gs>
              <a:gs pos="100000">
                <a:srgbClr val="C0F400">
                  <a:alpha val="70000"/>
                </a:srgbClr>
              </a:gs>
              <a:gs pos="50000">
                <a:srgbClr val="05EE55">
                  <a:alpha val="70000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0DA028-023B-4883-9A48-70FD7A2E522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EA625CC-388D-4655-BFA6-2CC4FD9E889D}"/>
              </a:ext>
            </a:extLst>
          </p:cNvPr>
          <p:cNvSpPr/>
          <p:nvPr userDrawn="1"/>
        </p:nvSpPr>
        <p:spPr>
          <a:xfrm>
            <a:off x="4659081" y="447789"/>
            <a:ext cx="2873833" cy="595795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2AA6DE-6D7A-4135-8B9F-99A91527F2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C2E478F-E849-4A8C-AF1F-CBCC78A7CBF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20B4D13-5F10-4886-AF0F-09B6ABB5C3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0" y="1431586"/>
            <a:ext cx="3467099" cy="436120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16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100" dirty="0"/>
            </a:lvl4pPr>
            <a:lvl5pPr>
              <a:defRPr lang="en-US" sz="1100" dirty="0"/>
            </a:lvl5pPr>
          </a:lstStyle>
          <a:p>
            <a:pPr lvl="0">
              <a:lnSpc>
                <a:spcPct val="150000"/>
              </a:lnSpc>
            </a:pPr>
            <a:r>
              <a:rPr lang="en-US"/>
              <a:t>Click to edit Master text styles</a:t>
            </a:r>
          </a:p>
          <a:p>
            <a:pPr lvl="1">
              <a:lnSpc>
                <a:spcPct val="150000"/>
              </a:lnSpc>
            </a:pPr>
            <a:r>
              <a:rPr lang="en-US"/>
              <a:t>Second level</a:t>
            </a:r>
          </a:p>
          <a:p>
            <a:pPr lvl="2">
              <a:lnSpc>
                <a:spcPct val="150000"/>
              </a:lnSpc>
            </a:pPr>
            <a:r>
              <a:rPr lang="en-US"/>
              <a:t>Third level</a:t>
            </a:r>
          </a:p>
          <a:p>
            <a:pPr lvl="3">
              <a:lnSpc>
                <a:spcPct val="150000"/>
              </a:lnSpc>
            </a:pPr>
            <a:r>
              <a:rPr lang="en-US"/>
              <a:t>Fourth level</a:t>
            </a:r>
          </a:p>
          <a:p>
            <a:pPr lvl="4">
              <a:lnSpc>
                <a:spcPct val="150000"/>
              </a:lnSpc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EE7BCAD4-8DB6-482F-8DC0-F6D653F922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53394" y="1431586"/>
            <a:ext cx="3467106" cy="4361203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1600" dirty="0"/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100" dirty="0"/>
            </a:lvl4pPr>
            <a:lvl5pPr>
              <a:defRPr lang="en-US" sz="1100" dirty="0"/>
            </a:lvl5pPr>
          </a:lstStyle>
          <a:p>
            <a:pPr lvl="0">
              <a:lnSpc>
                <a:spcPct val="150000"/>
              </a:lnSpc>
            </a:pPr>
            <a:r>
              <a:rPr lang="en-US"/>
              <a:t>Click to edit Master text styles</a:t>
            </a:r>
          </a:p>
          <a:p>
            <a:pPr lvl="1">
              <a:lnSpc>
                <a:spcPct val="150000"/>
              </a:lnSpc>
            </a:pPr>
            <a:r>
              <a:rPr lang="en-US"/>
              <a:t>Second level</a:t>
            </a:r>
          </a:p>
          <a:p>
            <a:pPr lvl="2">
              <a:lnSpc>
                <a:spcPct val="150000"/>
              </a:lnSpc>
            </a:pPr>
            <a:r>
              <a:rPr lang="en-US"/>
              <a:t>Third level</a:t>
            </a:r>
          </a:p>
          <a:p>
            <a:pPr lvl="3">
              <a:lnSpc>
                <a:spcPct val="150000"/>
              </a:lnSpc>
            </a:pPr>
            <a:r>
              <a:rPr lang="en-US"/>
              <a:t>Fourth level</a:t>
            </a:r>
          </a:p>
          <a:p>
            <a:pPr lvl="4">
              <a:lnSpc>
                <a:spcPct val="150000"/>
              </a:lnSpc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2448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38A5A1-070F-43C9-B2D5-C557B0D72B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3882" y="1061132"/>
            <a:ext cx="3464717" cy="823912"/>
          </a:xfrm>
          <a:ln>
            <a:noFill/>
          </a:ln>
        </p:spPr>
        <p:txBody>
          <a:bodyPr anchor="ctr"/>
          <a:lstStyle>
            <a:lvl1pPr marL="0" indent="0" algn="ctr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CCBEC1-2F48-4E90-ADF0-BEE2B9E477B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3882" y="2108201"/>
            <a:ext cx="3464717" cy="3684588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600"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defRPr sz="140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50000"/>
              </a:lnSpc>
              <a:defRPr sz="1100">
                <a:solidFill>
                  <a:schemeClr val="bg1"/>
                </a:solidFill>
              </a:defRPr>
            </a:lvl4pPr>
            <a:lvl5pPr>
              <a:lnSpc>
                <a:spcPct val="150000"/>
              </a:lnSpc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EDCBFD0-7AE5-4346-AD3A-01F956626091}"/>
              </a:ext>
            </a:extLst>
          </p:cNvPr>
          <p:cNvSpPr/>
          <p:nvPr userDrawn="1"/>
        </p:nvSpPr>
        <p:spPr>
          <a:xfrm>
            <a:off x="4430484" y="0"/>
            <a:ext cx="2873833" cy="5426414"/>
          </a:xfrm>
          <a:prstGeom prst="rect">
            <a:avLst/>
          </a:prstGeom>
          <a:noFill/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1F4A2F-9480-4E94-806C-5D65C71DFB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884" y="0"/>
            <a:ext cx="3834596" cy="1124404"/>
          </a:xfrm>
        </p:spPr>
        <p:txBody>
          <a:bodyPr>
            <a:no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C3A4379-5E89-42FE-AA5C-BEA0CDFCDD6F}"/>
              </a:ext>
            </a:extLst>
          </p:cNvPr>
          <p:cNvSpPr/>
          <p:nvPr userDrawn="1"/>
        </p:nvSpPr>
        <p:spPr>
          <a:xfrm>
            <a:off x="4887684" y="1431586"/>
            <a:ext cx="2873833" cy="5426414"/>
          </a:xfrm>
          <a:prstGeom prst="rect">
            <a:avLst/>
          </a:prstGeom>
          <a:gradFill>
            <a:gsLst>
              <a:gs pos="0">
                <a:srgbClr val="038B30">
                  <a:alpha val="70000"/>
                </a:srgbClr>
              </a:gs>
              <a:gs pos="100000">
                <a:srgbClr val="C0F400">
                  <a:alpha val="70000"/>
                </a:srgbClr>
              </a:gs>
              <a:gs pos="50000">
                <a:srgbClr val="05EE55">
                  <a:alpha val="70000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0DA028-023B-4883-9A48-70FD7A2E522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EA625CC-388D-4655-BFA6-2CC4FD9E889D}"/>
              </a:ext>
            </a:extLst>
          </p:cNvPr>
          <p:cNvSpPr/>
          <p:nvPr userDrawn="1"/>
        </p:nvSpPr>
        <p:spPr>
          <a:xfrm>
            <a:off x="4659081" y="447789"/>
            <a:ext cx="2873833" cy="595795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2AA6DE-6D7A-4135-8B9F-99A91527F2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C2E478F-E849-4A8C-AF1F-CBCC78A7CBF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7A78D63-E00C-4155-A5B2-B3431A09AC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153395" y="1061132"/>
            <a:ext cx="3464721" cy="823912"/>
          </a:xfr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buNone/>
              <a:defRPr lang="en-US" sz="2400" b="1" dirty="0">
                <a:latin typeface="+mj-lt"/>
              </a:defRPr>
            </a:lvl1pPr>
          </a:lstStyle>
          <a:p>
            <a:pPr marL="228600" lvl="0" indent="-228600" algn="ctr"/>
            <a:r>
              <a:rPr lang="en-US"/>
              <a:t>Click to edit Master text styles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60C17447-B870-4054-B568-8B6B321EC5B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153394" y="2108201"/>
            <a:ext cx="3464722" cy="3684588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400" dirty="0"/>
            </a:lvl2pPr>
            <a:lvl3pPr>
              <a:defRPr lang="en-US" sz="1200" dirty="0"/>
            </a:lvl3pPr>
            <a:lvl4pPr>
              <a:defRPr lang="en-US" sz="1100" dirty="0"/>
            </a:lvl4pPr>
            <a:lvl5pPr>
              <a:defRPr lang="en-US" sz="1100" dirty="0"/>
            </a:lvl5pPr>
          </a:lstStyle>
          <a:p>
            <a:pPr marL="228600" lvl="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228600" lvl="1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  <a:p>
            <a:pPr marL="228600" lvl="2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228600" lvl="3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228600" lvl="4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335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B7F3105-8D8F-4FF3-9A7F-0F067BB810A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D117255-8347-4647-9EA2-7ED06A73C1A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C2E478F-E849-4A8C-AF1F-CBCC78A7CBF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F3E8482-B43D-4B69-8645-6B735F91B9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4478" y="587829"/>
            <a:ext cx="5326022" cy="5273221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DDDD410-5ABA-46A5-B282-F37437EFB673}"/>
              </a:ext>
            </a:extLst>
          </p:cNvPr>
          <p:cNvSpPr/>
          <p:nvPr userDrawn="1"/>
        </p:nvSpPr>
        <p:spPr>
          <a:xfrm>
            <a:off x="1159727" y="1224451"/>
            <a:ext cx="4226024" cy="5426414"/>
          </a:xfrm>
          <a:prstGeom prst="rect">
            <a:avLst/>
          </a:prstGeom>
          <a:gradFill>
            <a:gsLst>
              <a:gs pos="0">
                <a:srgbClr val="038B30">
                  <a:alpha val="70000"/>
                </a:srgbClr>
              </a:gs>
              <a:gs pos="100000">
                <a:srgbClr val="C0F400">
                  <a:alpha val="70000"/>
                </a:srgbClr>
              </a:gs>
              <a:gs pos="50000">
                <a:srgbClr val="05EE55">
                  <a:alpha val="70000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9BC9CBF-CF7B-4E39-9FD1-961882EC596A}"/>
              </a:ext>
            </a:extLst>
          </p:cNvPr>
          <p:cNvSpPr/>
          <p:nvPr userDrawn="1"/>
        </p:nvSpPr>
        <p:spPr>
          <a:xfrm>
            <a:off x="657060" y="698704"/>
            <a:ext cx="4473025" cy="5701790"/>
          </a:xfrm>
          <a:prstGeom prst="rect">
            <a:avLst/>
          </a:prstGeom>
          <a:solidFill>
            <a:srgbClr val="2F33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7A3D921-B9D5-42DC-9037-298968D94C95}"/>
              </a:ext>
            </a:extLst>
          </p:cNvPr>
          <p:cNvGrpSpPr/>
          <p:nvPr userDrawn="1"/>
        </p:nvGrpSpPr>
        <p:grpSpPr>
          <a:xfrm>
            <a:off x="657060" y="435124"/>
            <a:ext cx="5134751" cy="6215741"/>
            <a:chOff x="252031" y="391887"/>
            <a:chExt cx="7433283" cy="6215741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BDB1890-91F2-49FC-B0F4-3F3FF11B6A1A}"/>
                </a:ext>
              </a:extLst>
            </p:cNvPr>
            <p:cNvSpPr/>
            <p:nvPr userDrawn="1"/>
          </p:nvSpPr>
          <p:spPr>
            <a:xfrm>
              <a:off x="979713" y="1181214"/>
              <a:ext cx="6117771" cy="5426414"/>
            </a:xfrm>
            <a:prstGeom prst="rect">
              <a:avLst/>
            </a:prstGeom>
            <a:gradFill>
              <a:gsLst>
                <a:gs pos="0">
                  <a:srgbClr val="038B30">
                    <a:alpha val="70000"/>
                  </a:srgbClr>
                </a:gs>
                <a:gs pos="100000">
                  <a:srgbClr val="C0F400">
                    <a:alpha val="70000"/>
                  </a:srgbClr>
                </a:gs>
                <a:gs pos="50000">
                  <a:srgbClr val="05EE55">
                    <a:alpha val="70000"/>
                  </a:srgb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A62F937-16D4-4A6C-B247-D0A62BC6560D}"/>
                </a:ext>
              </a:extLst>
            </p:cNvPr>
            <p:cNvSpPr/>
            <p:nvPr userDrawn="1"/>
          </p:nvSpPr>
          <p:spPr>
            <a:xfrm>
              <a:off x="609600" y="391887"/>
              <a:ext cx="7075714" cy="5878284"/>
            </a:xfrm>
            <a:prstGeom prst="rect">
              <a:avLst/>
            </a:prstGeom>
            <a:noFill/>
            <a:ln w="1270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9335681-5A6F-48BE-8160-2000D0F242FB}"/>
                </a:ext>
              </a:extLst>
            </p:cNvPr>
            <p:cNvSpPr/>
            <p:nvPr userDrawn="1"/>
          </p:nvSpPr>
          <p:spPr>
            <a:xfrm>
              <a:off x="252031" y="655467"/>
              <a:ext cx="6475341" cy="5701790"/>
            </a:xfrm>
            <a:prstGeom prst="rect">
              <a:avLst/>
            </a:prstGeom>
            <a:solidFill>
              <a:srgbClr val="2F33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1E2B8D-1C12-403F-BE59-ECC565466CB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09601" y="2546851"/>
            <a:ext cx="4101084" cy="3396749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F0F519-65FC-434F-8F2F-F778A20A82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480457"/>
            <a:ext cx="4101084" cy="979308"/>
          </a:xfrm>
        </p:spPr>
        <p:txBody>
          <a:bodyPr anchor="b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2915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56FC21-A32D-44DC-BED7-08CEBB3B90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4A85DE8-81C6-4A53-8754-137A795CA5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C2E478F-E849-4A8C-AF1F-CBCC78A7CBFA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66073F-5CD2-4EAC-890A-F6BB43D2BD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8171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56FC21-A32D-44DC-BED7-08CEBB3B90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4A85DE8-81C6-4A53-8754-137A795CA5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C2E478F-E849-4A8C-AF1F-CBCC78A7CBFA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66073F-5CD2-4EAC-890A-F6BB43D2BD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58047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8571B4-4133-4DE5-AD8F-A341842CBE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65AC00-5FCA-4A4E-A036-2FCBDEAF17D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C2E478F-E849-4A8C-AF1F-CBCC78A7CBF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88036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FE1CFFBA-D756-4740-B375-252727F02D1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264229" y="0"/>
            <a:ext cx="4919153" cy="6858000"/>
          </a:xfrm>
          <a:solidFill>
            <a:schemeClr val="bg1">
              <a:lumMod val="5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2DCA22-1DF2-42CB-8741-F0CE575EA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804" y="1676400"/>
            <a:ext cx="5196241" cy="3352800"/>
          </a:xfrm>
        </p:spPr>
        <p:txBody>
          <a:bodyPr>
            <a:normAutofit/>
          </a:bodyPr>
          <a:lstStyle>
            <a:lvl1pPr>
              <a:defRPr sz="4400" b="1" spc="3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DD89F3-6B87-4C54-83B9-A6481CB4FC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39394" y="365125"/>
            <a:ext cx="4114801" cy="58118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79D679C-E90D-4916-BCE6-71C32B831E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9938" y="1088572"/>
            <a:ext cx="4572000" cy="4572000"/>
          </a:xfrm>
          <a:prstGeom prst="rect">
            <a:avLst/>
          </a:prstGeo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C200B3-102B-4BB6-AEB0-D99EE027F09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450C90-6D4A-4D50-B15D-91C587AABC6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C2E478F-E849-4A8C-AF1F-CBCC78A7CBF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762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FE1CFFBA-D756-4740-B375-252727F02D1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264229" y="0"/>
            <a:ext cx="9927771" cy="6858000"/>
          </a:xfrm>
          <a:solidFill>
            <a:schemeClr val="bg1">
              <a:lumMod val="5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9325050-38BE-4AB2-B450-8DC9C0EDD386}"/>
              </a:ext>
            </a:extLst>
          </p:cNvPr>
          <p:cNvGrpSpPr/>
          <p:nvPr userDrawn="1"/>
        </p:nvGrpSpPr>
        <p:grpSpPr>
          <a:xfrm>
            <a:off x="883522" y="408327"/>
            <a:ext cx="5276606" cy="5768636"/>
            <a:chOff x="883522" y="408327"/>
            <a:chExt cx="5276606" cy="576863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D68A4CE-A5FD-4656-82E1-43D586CC441E}"/>
                </a:ext>
              </a:extLst>
            </p:cNvPr>
            <p:cNvSpPr/>
            <p:nvPr/>
          </p:nvSpPr>
          <p:spPr>
            <a:xfrm>
              <a:off x="1808217" y="1403690"/>
              <a:ext cx="4351911" cy="4773273"/>
            </a:xfrm>
            <a:prstGeom prst="rect">
              <a:avLst/>
            </a:prstGeom>
            <a:gradFill>
              <a:gsLst>
                <a:gs pos="0">
                  <a:srgbClr val="038B30">
                    <a:alpha val="70000"/>
                  </a:srgbClr>
                </a:gs>
                <a:gs pos="100000">
                  <a:srgbClr val="C0F400">
                    <a:alpha val="70000"/>
                  </a:srgbClr>
                </a:gs>
                <a:gs pos="50000">
                  <a:srgbClr val="05EE55">
                    <a:alpha val="70000"/>
                  </a:srgb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E66B1E37-8CEC-44ED-A239-C755B72AC61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39938" y="1088572"/>
              <a:ext cx="4572000" cy="4572000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7E28405-97F5-4E03-86F1-FAE2FEA6CFF8}"/>
                </a:ext>
              </a:extLst>
            </p:cNvPr>
            <p:cNvSpPr/>
            <p:nvPr/>
          </p:nvSpPr>
          <p:spPr>
            <a:xfrm>
              <a:off x="883522" y="408327"/>
              <a:ext cx="4351911" cy="4773273"/>
            </a:xfrm>
            <a:prstGeom prst="rect">
              <a:avLst/>
            </a:prstGeom>
            <a:solidFill>
              <a:srgbClr val="2F33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719FCC9B-E3B8-49CF-BD22-D553FFAAE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1775"/>
            <a:ext cx="4351911" cy="2384466"/>
          </a:xfrm>
        </p:spPr>
        <p:txBody>
          <a:bodyPr>
            <a:normAutofit/>
          </a:bodyPr>
          <a:lstStyle>
            <a:lvl1pPr algn="ctr">
              <a:defRPr sz="4400" b="1" spc="3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F21EA87-CE67-4A1E-B2E0-513F775C76A7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8199" y="3886241"/>
            <a:ext cx="4351910" cy="296437"/>
          </a:xfrm>
        </p:spPr>
        <p:txBody>
          <a:bodyPr lIns="0" rIns="0">
            <a:noAutofit/>
          </a:bodyPr>
          <a:lstStyle>
            <a:lvl1pPr marL="0" indent="0" algn="ctr">
              <a:buNone/>
              <a:defRPr sz="2000" spc="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STYL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AADF661-E593-4423-A8A8-F22C943907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8BD6A50-BDFC-4B4C-9D3B-53B545F531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C2E478F-E849-4A8C-AF1F-CBCC78A7CBF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8143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B599FEC8-12D0-4EB5-8573-C891D56C84E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71015" y="0"/>
            <a:ext cx="12263015" cy="6858000"/>
          </a:xfrm>
          <a:solidFill>
            <a:schemeClr val="bg1">
              <a:lumMod val="5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BF3BF7F-F094-497C-9310-2FE8B059E82B}"/>
              </a:ext>
            </a:extLst>
          </p:cNvPr>
          <p:cNvGrpSpPr/>
          <p:nvPr userDrawn="1"/>
        </p:nvGrpSpPr>
        <p:grpSpPr>
          <a:xfrm flipH="1" flipV="1">
            <a:off x="3581400" y="451189"/>
            <a:ext cx="5276606" cy="5768636"/>
            <a:chOff x="883522" y="408327"/>
            <a:chExt cx="5276606" cy="576863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D49E498-4E90-44A2-B49F-157DFF9E8581}"/>
                </a:ext>
              </a:extLst>
            </p:cNvPr>
            <p:cNvSpPr/>
            <p:nvPr/>
          </p:nvSpPr>
          <p:spPr>
            <a:xfrm>
              <a:off x="1808217" y="1403690"/>
              <a:ext cx="4351911" cy="4773273"/>
            </a:xfrm>
            <a:prstGeom prst="rect">
              <a:avLst/>
            </a:prstGeom>
            <a:gradFill>
              <a:gsLst>
                <a:gs pos="0">
                  <a:srgbClr val="038B30">
                    <a:alpha val="70000"/>
                  </a:srgbClr>
                </a:gs>
                <a:gs pos="100000">
                  <a:srgbClr val="C0F400">
                    <a:alpha val="70000"/>
                  </a:srgbClr>
                </a:gs>
                <a:gs pos="50000">
                  <a:srgbClr val="05EE55">
                    <a:alpha val="70000"/>
                  </a:srgb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0000"/>
                </a:solidFill>
              </a:endParaRPr>
            </a:p>
          </p:txBody>
        </p:sp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B2D9F108-8C30-4BEC-8122-BE263264448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39938" y="1088572"/>
              <a:ext cx="4572000" cy="4572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AB546B5-7C56-40DD-B1DF-AE850DE5FDB3}"/>
                </a:ext>
              </a:extLst>
            </p:cNvPr>
            <p:cNvSpPr/>
            <p:nvPr/>
          </p:nvSpPr>
          <p:spPr>
            <a:xfrm>
              <a:off x="883522" y="408327"/>
              <a:ext cx="4351911" cy="4773273"/>
            </a:xfrm>
            <a:prstGeom prst="rect">
              <a:avLst/>
            </a:prstGeom>
            <a:solidFill>
              <a:srgbClr val="2F33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0000"/>
                </a:solidFill>
              </a:endParaRPr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4C30FD01-9DD8-4ECA-AC52-7C41002A99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6095" y="1742989"/>
            <a:ext cx="4351911" cy="3352800"/>
          </a:xfrm>
        </p:spPr>
        <p:txBody>
          <a:bodyPr>
            <a:normAutofit/>
          </a:bodyPr>
          <a:lstStyle>
            <a:lvl1pPr algn="ctr">
              <a:defRPr sz="4400" b="1" spc="3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74491700-C4EB-4143-ACD3-DE153BF9DD9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06094" y="4127455"/>
            <a:ext cx="4351910" cy="296437"/>
          </a:xfrm>
        </p:spPr>
        <p:txBody>
          <a:bodyPr lIns="0" rIns="0">
            <a:noAutofit/>
          </a:bodyPr>
          <a:lstStyle>
            <a:lvl1pPr marL="0" indent="0" algn="ctr">
              <a:buNone/>
              <a:defRPr sz="2000" spc="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STYL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5F17219-39C2-44C1-BFC9-BA0D7ACD78D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87118E-1B0A-407B-BDCE-B343BC9F92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C2E478F-E849-4A8C-AF1F-CBCC78A7CBF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589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CC3A4379-5E89-42FE-AA5C-BEA0CDFCDD6F}"/>
              </a:ext>
            </a:extLst>
          </p:cNvPr>
          <p:cNvSpPr/>
          <p:nvPr userDrawn="1"/>
        </p:nvSpPr>
        <p:spPr>
          <a:xfrm>
            <a:off x="4887684" y="1431586"/>
            <a:ext cx="2873833" cy="5426414"/>
          </a:xfrm>
          <a:prstGeom prst="rect">
            <a:avLst/>
          </a:prstGeom>
          <a:gradFill>
            <a:gsLst>
              <a:gs pos="0">
                <a:srgbClr val="038B30">
                  <a:alpha val="70000"/>
                </a:srgbClr>
              </a:gs>
              <a:gs pos="100000">
                <a:srgbClr val="C0F400">
                  <a:alpha val="70000"/>
                </a:srgbClr>
              </a:gs>
              <a:gs pos="50000">
                <a:srgbClr val="05EE55">
                  <a:alpha val="70000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38A5A1-070F-43C9-B2D5-C557B0D72B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3882" y="1061132"/>
            <a:ext cx="3464717" cy="823912"/>
          </a:xfrm>
          <a:ln>
            <a:noFill/>
          </a:ln>
        </p:spPr>
        <p:txBody>
          <a:bodyPr anchor="ctr"/>
          <a:lstStyle>
            <a:lvl1pPr marL="0" indent="0" algn="ctr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CCBEC1-2F48-4E90-ADF0-BEE2B9E477B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3882" y="2108201"/>
            <a:ext cx="3464717" cy="3684588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600"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defRPr sz="140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50000"/>
              </a:lnSpc>
              <a:defRPr sz="1100">
                <a:solidFill>
                  <a:schemeClr val="bg1"/>
                </a:solidFill>
              </a:defRPr>
            </a:lvl4pPr>
            <a:lvl5pPr>
              <a:lnSpc>
                <a:spcPct val="150000"/>
              </a:lnSpc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67F380C-58A9-4490-AC57-579A90290F3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153400" y="1061132"/>
            <a:ext cx="3464717" cy="823912"/>
          </a:xfrm>
          <a:ln>
            <a:noFill/>
          </a:ln>
        </p:spPr>
        <p:txBody>
          <a:bodyPr anchor="ctr"/>
          <a:lstStyle>
            <a:lvl1pPr marL="0" indent="0" algn="ctr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DA285A94-0E4E-47DC-8E61-41F684F37003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53400" y="2108201"/>
            <a:ext cx="3464717" cy="3684588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600"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defRPr sz="140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50000"/>
              </a:lnSpc>
              <a:defRPr sz="1100">
                <a:solidFill>
                  <a:schemeClr val="bg1"/>
                </a:solidFill>
              </a:defRPr>
            </a:lvl4pPr>
            <a:lvl5pPr>
              <a:lnSpc>
                <a:spcPct val="150000"/>
              </a:lnSpc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EDCBFD0-7AE5-4346-AD3A-01F956626091}"/>
              </a:ext>
            </a:extLst>
          </p:cNvPr>
          <p:cNvSpPr/>
          <p:nvPr userDrawn="1"/>
        </p:nvSpPr>
        <p:spPr>
          <a:xfrm>
            <a:off x="4430484" y="0"/>
            <a:ext cx="2873833" cy="5426414"/>
          </a:xfrm>
          <a:prstGeom prst="rect">
            <a:avLst/>
          </a:prstGeom>
          <a:noFill/>
          <a:ln w="889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354FBDC8-CD65-4972-A821-C25297B1A8A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59082" y="489291"/>
            <a:ext cx="2873833" cy="5920920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1F4A2F-9480-4E94-806C-5D65C71DFB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884" y="0"/>
            <a:ext cx="3834596" cy="1124404"/>
          </a:xfrm>
        </p:spPr>
        <p:txBody>
          <a:bodyPr>
            <a:no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0DA028-023B-4883-9A48-70FD7A2E522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2AA6DE-6D7A-4135-8B9F-99A91527F2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C2E478F-E849-4A8C-AF1F-CBCC78A7CBF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7425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BD40C7A-92CE-46D6-B056-C75D73663328}"/>
              </a:ext>
            </a:extLst>
          </p:cNvPr>
          <p:cNvSpPr/>
          <p:nvPr userDrawn="1"/>
        </p:nvSpPr>
        <p:spPr>
          <a:xfrm>
            <a:off x="609600" y="391887"/>
            <a:ext cx="7075714" cy="5878284"/>
          </a:xfrm>
          <a:prstGeom prst="rect">
            <a:avLst/>
          </a:prstGeom>
          <a:noFill/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877C5F-FF39-4400-9C13-0D7F04A0C78F}"/>
              </a:ext>
            </a:extLst>
          </p:cNvPr>
          <p:cNvSpPr/>
          <p:nvPr userDrawn="1"/>
        </p:nvSpPr>
        <p:spPr>
          <a:xfrm>
            <a:off x="6727371" y="54430"/>
            <a:ext cx="1238278" cy="655319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AE90E16-AEC5-4F82-85B0-DDEA26AA939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097484" y="0"/>
            <a:ext cx="5094515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A1A2116-206B-49CD-9ECC-078E4F72904C}"/>
              </a:ext>
            </a:extLst>
          </p:cNvPr>
          <p:cNvSpPr/>
          <p:nvPr userDrawn="1"/>
        </p:nvSpPr>
        <p:spPr>
          <a:xfrm>
            <a:off x="979713" y="1181214"/>
            <a:ext cx="6117771" cy="5426414"/>
          </a:xfrm>
          <a:prstGeom prst="rect">
            <a:avLst/>
          </a:prstGeom>
          <a:gradFill>
            <a:gsLst>
              <a:gs pos="0">
                <a:srgbClr val="038B30">
                  <a:alpha val="70000"/>
                </a:srgbClr>
              </a:gs>
              <a:gs pos="100000">
                <a:srgbClr val="C0F400">
                  <a:alpha val="70000"/>
                </a:srgbClr>
              </a:gs>
              <a:gs pos="50000">
                <a:srgbClr val="05EE55">
                  <a:alpha val="70000"/>
                </a:srgb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9E75A6-06C5-49D0-9164-3098CE0E53D8}"/>
              </a:ext>
            </a:extLst>
          </p:cNvPr>
          <p:cNvSpPr/>
          <p:nvPr userDrawn="1"/>
        </p:nvSpPr>
        <p:spPr>
          <a:xfrm>
            <a:off x="957943" y="655467"/>
            <a:ext cx="5769428" cy="5701790"/>
          </a:xfrm>
          <a:prstGeom prst="rect">
            <a:avLst/>
          </a:prstGeom>
          <a:solidFill>
            <a:srgbClr val="2F33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B7F3105-8D8F-4FF3-9A7F-0F067BB810A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1E2B8D-1C12-403F-BE59-ECC565466CB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57943" y="2546851"/>
            <a:ext cx="5138057" cy="3396749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F0F519-65FC-434F-8F2F-F778A20A82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7943" y="1480457"/>
            <a:ext cx="5138057" cy="979308"/>
          </a:xfrm>
        </p:spPr>
        <p:txBody>
          <a:bodyPr anchor="b"/>
          <a:lstStyle>
            <a:lvl1pPr>
              <a:defRPr sz="32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D117255-8347-4647-9EA2-7ED06A73C1A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C2E478F-E849-4A8C-AF1F-CBCC78A7CBF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2515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2E9CCD-6BB8-4209-A6BA-85186795608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00191" y="470641"/>
            <a:ext cx="5220309" cy="59167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E8CB484-5390-4B2F-9BFB-D0733BEE88A5}"/>
              </a:ext>
            </a:extLst>
          </p:cNvPr>
          <p:cNvGrpSpPr/>
          <p:nvPr userDrawn="1"/>
        </p:nvGrpSpPr>
        <p:grpSpPr>
          <a:xfrm>
            <a:off x="657060" y="435124"/>
            <a:ext cx="5134751" cy="6215741"/>
            <a:chOff x="252031" y="391887"/>
            <a:chExt cx="7433283" cy="6215741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8354BDC-9788-4AB5-A841-99D95C68804F}"/>
                </a:ext>
              </a:extLst>
            </p:cNvPr>
            <p:cNvSpPr/>
            <p:nvPr userDrawn="1"/>
          </p:nvSpPr>
          <p:spPr>
            <a:xfrm>
              <a:off x="979713" y="1181214"/>
              <a:ext cx="6117771" cy="5426414"/>
            </a:xfrm>
            <a:prstGeom prst="rect">
              <a:avLst/>
            </a:prstGeom>
            <a:gradFill>
              <a:gsLst>
                <a:gs pos="0">
                  <a:srgbClr val="038B30">
                    <a:alpha val="70000"/>
                  </a:srgbClr>
                </a:gs>
                <a:gs pos="100000">
                  <a:srgbClr val="C0F400">
                    <a:alpha val="70000"/>
                  </a:srgbClr>
                </a:gs>
                <a:gs pos="50000">
                  <a:srgbClr val="05EE55">
                    <a:alpha val="70000"/>
                  </a:srgb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6778BD9-B865-4156-B319-6A8242F0D4D5}"/>
                </a:ext>
              </a:extLst>
            </p:cNvPr>
            <p:cNvSpPr/>
            <p:nvPr userDrawn="1"/>
          </p:nvSpPr>
          <p:spPr>
            <a:xfrm>
              <a:off x="609600" y="391887"/>
              <a:ext cx="7075714" cy="5878284"/>
            </a:xfrm>
            <a:prstGeom prst="rect">
              <a:avLst/>
            </a:prstGeom>
            <a:noFill/>
            <a:ln w="1270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EB70006-7799-4F63-912B-45662CE14500}"/>
                </a:ext>
              </a:extLst>
            </p:cNvPr>
            <p:cNvSpPr/>
            <p:nvPr userDrawn="1"/>
          </p:nvSpPr>
          <p:spPr>
            <a:xfrm>
              <a:off x="252031" y="655467"/>
              <a:ext cx="6475341" cy="5701790"/>
            </a:xfrm>
            <a:prstGeom prst="rect">
              <a:avLst/>
            </a:prstGeom>
            <a:solidFill>
              <a:srgbClr val="2F33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04074E6-E39E-4D19-B91F-8E84F37CBF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167" y="1099002"/>
            <a:ext cx="4226024" cy="573989"/>
          </a:xfrm>
        </p:spPr>
        <p:txBody>
          <a:bodyPr lIns="0" rIns="0">
            <a:noAutofit/>
          </a:bodyPr>
          <a:lstStyle>
            <a:lvl1pPr>
              <a:defRPr sz="3200" b="1" spc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7D1B16-7058-45AD-9B19-E19CAF9668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9167" y="2145234"/>
            <a:ext cx="4226024" cy="3857329"/>
          </a:xfrm>
        </p:spPr>
        <p:txBody>
          <a:bodyPr lIns="0" rIns="0">
            <a:normAutofit/>
          </a:bodyPr>
          <a:lstStyle>
            <a:lvl1pPr>
              <a:lnSpc>
                <a:spcPct val="150000"/>
              </a:lnSpc>
              <a:defRPr sz="1600"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defRPr sz="160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defRPr sz="1400">
                <a:solidFill>
                  <a:schemeClr val="bg1"/>
                </a:solidFill>
              </a:defRPr>
            </a:lvl3pPr>
            <a:lvl4pPr>
              <a:lnSpc>
                <a:spcPct val="15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5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CAAB964-0A56-4842-AA82-7610F726CD14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1804" y="1737564"/>
            <a:ext cx="4197802" cy="407670"/>
          </a:xfrm>
        </p:spPr>
        <p:txBody>
          <a:bodyPr lIns="0" rIns="0">
            <a:noAutofit/>
          </a:bodyPr>
          <a:lstStyle>
            <a:lvl1pPr marL="0" indent="0">
              <a:buNone/>
              <a:defRPr sz="2000" spc="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311BA1-4F61-4FA7-9C20-685B3689CAE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EF357A5-40C6-41A4-B1BE-0AF78D459AC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C2E478F-E849-4A8C-AF1F-CBCC78A7CBF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789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846D6A0C-E2C3-43CB-83D0-B5F6221079CA}"/>
              </a:ext>
            </a:extLst>
          </p:cNvPr>
          <p:cNvGrpSpPr/>
          <p:nvPr userDrawn="1"/>
        </p:nvGrpSpPr>
        <p:grpSpPr>
          <a:xfrm flipH="1">
            <a:off x="2076202" y="1374276"/>
            <a:ext cx="7324426" cy="3883523"/>
            <a:chOff x="252031" y="-22763"/>
            <a:chExt cx="7324426" cy="726996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DC96296-0FBF-47A5-9D6A-5D9BB647A4D7}"/>
                </a:ext>
              </a:extLst>
            </p:cNvPr>
            <p:cNvSpPr/>
            <p:nvPr userDrawn="1"/>
          </p:nvSpPr>
          <p:spPr>
            <a:xfrm>
              <a:off x="979714" y="1181211"/>
              <a:ext cx="6117771" cy="6065990"/>
            </a:xfrm>
            <a:prstGeom prst="rect">
              <a:avLst/>
            </a:prstGeom>
            <a:gradFill>
              <a:gsLst>
                <a:gs pos="0">
                  <a:srgbClr val="038B30">
                    <a:alpha val="70000"/>
                  </a:srgbClr>
                </a:gs>
                <a:gs pos="100000">
                  <a:srgbClr val="C0F400">
                    <a:alpha val="70000"/>
                  </a:srgbClr>
                </a:gs>
                <a:gs pos="50000">
                  <a:srgbClr val="05EE55">
                    <a:alpha val="70000"/>
                  </a:srgb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997D03F-0BE2-458F-92A2-4FE73B0FBF51}"/>
                </a:ext>
              </a:extLst>
            </p:cNvPr>
            <p:cNvSpPr/>
            <p:nvPr userDrawn="1"/>
          </p:nvSpPr>
          <p:spPr>
            <a:xfrm>
              <a:off x="500743" y="-22763"/>
              <a:ext cx="7075714" cy="5878284"/>
            </a:xfrm>
            <a:prstGeom prst="rect">
              <a:avLst/>
            </a:prstGeom>
            <a:noFill/>
            <a:ln w="1270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3F17719-10FE-433E-9CCC-4509DE17F22A}"/>
                </a:ext>
              </a:extLst>
            </p:cNvPr>
            <p:cNvSpPr/>
            <p:nvPr userDrawn="1"/>
          </p:nvSpPr>
          <p:spPr>
            <a:xfrm>
              <a:off x="252031" y="655467"/>
              <a:ext cx="6475341" cy="5701790"/>
            </a:xfrm>
            <a:prstGeom prst="rect">
              <a:avLst/>
            </a:prstGeom>
            <a:solidFill>
              <a:srgbClr val="2F33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DE73F1A-AAF0-4EB4-8DF0-C152BD93C6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91372" y="2238426"/>
            <a:ext cx="6609256" cy="1508126"/>
          </a:xfrm>
        </p:spPr>
        <p:txBody>
          <a:bodyPr anchor="b">
            <a:normAutofit/>
          </a:bodyPr>
          <a:lstStyle>
            <a:lvl1pPr algn="ctr">
              <a:defRPr sz="4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075AE6-92D3-4205-B268-E1AD6C5901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791372" y="3838627"/>
            <a:ext cx="6609256" cy="450503"/>
          </a:xfrm>
        </p:spPr>
        <p:txBody>
          <a:bodyPr/>
          <a:lstStyle>
            <a:lvl1pPr marL="0" indent="0" algn="ctr">
              <a:buNone/>
              <a:defRPr sz="2400" spc="3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7BF3BF7F-F094-497C-9310-2FE8B059E82B}"/>
              </a:ext>
            </a:extLst>
          </p:cNvPr>
          <p:cNvGrpSpPr/>
          <p:nvPr userDrawn="1"/>
        </p:nvGrpSpPr>
        <p:grpSpPr>
          <a:xfrm flipH="1" flipV="1">
            <a:off x="3581400" y="451189"/>
            <a:ext cx="5276606" cy="5768636"/>
            <a:chOff x="883522" y="408327"/>
            <a:chExt cx="5276606" cy="576863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D49E498-4E90-44A2-B49F-157DFF9E8581}"/>
                </a:ext>
              </a:extLst>
            </p:cNvPr>
            <p:cNvSpPr/>
            <p:nvPr/>
          </p:nvSpPr>
          <p:spPr>
            <a:xfrm>
              <a:off x="1808217" y="1403690"/>
              <a:ext cx="4351911" cy="4773273"/>
            </a:xfrm>
            <a:prstGeom prst="rect">
              <a:avLst/>
            </a:prstGeom>
            <a:gradFill>
              <a:gsLst>
                <a:gs pos="0">
                  <a:srgbClr val="038B30">
                    <a:alpha val="70000"/>
                  </a:srgbClr>
                </a:gs>
                <a:gs pos="100000">
                  <a:srgbClr val="C0F400">
                    <a:alpha val="70000"/>
                  </a:srgbClr>
                </a:gs>
                <a:gs pos="50000">
                  <a:srgbClr val="05EE55">
                    <a:alpha val="70000"/>
                  </a:srgb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B2D9F108-8C30-4BEC-8122-BE263264448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39938" y="1088572"/>
              <a:ext cx="4572000" cy="4572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AB546B5-7C56-40DD-B1DF-AE850DE5FDB3}"/>
                </a:ext>
              </a:extLst>
            </p:cNvPr>
            <p:cNvSpPr/>
            <p:nvPr/>
          </p:nvSpPr>
          <p:spPr>
            <a:xfrm>
              <a:off x="883522" y="408327"/>
              <a:ext cx="4351911" cy="4773273"/>
            </a:xfrm>
            <a:prstGeom prst="rect">
              <a:avLst/>
            </a:prstGeom>
            <a:solidFill>
              <a:srgbClr val="2F33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4C30FD01-9DD8-4ECA-AC52-7C41002A99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6095" y="1742989"/>
            <a:ext cx="4351911" cy="3352800"/>
          </a:xfrm>
        </p:spPr>
        <p:txBody>
          <a:bodyPr>
            <a:normAutofit/>
          </a:bodyPr>
          <a:lstStyle>
            <a:lvl1pPr algn="ctr">
              <a:defRPr sz="4400" b="1" spc="3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5F17219-39C2-44C1-BFC9-BA0D7ACD78D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87118E-1B0A-407B-BDCE-B343BC9F92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C2E478F-E849-4A8C-AF1F-CBCC78A7CBF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EC8E835-7291-427D-948E-B544E36AD12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06094" y="4127455"/>
            <a:ext cx="4351911" cy="296437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en-US" sz="2000" cap="all" spc="600" baseline="0">
                <a:latin typeface="+mj-lt"/>
              </a:defRPr>
            </a:lvl1pPr>
          </a:lstStyle>
          <a:p>
            <a:pPr marL="228600" lvl="0" indent="-228600" algn="ctr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8000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F33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27C465-B000-4905-9328-DBAB7930A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884" y="0"/>
            <a:ext cx="11000232" cy="11887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BF3059-D5B9-418C-A60B-C3C8E261E4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95884" y="1188720"/>
            <a:ext cx="11000232" cy="49882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87F727-48BD-4EB4-B57F-5AC03BEB1A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95884" y="646830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a Footer</a:t>
            </a:r>
          </a:p>
        </p:txBody>
      </p:sp>
      <p:sp>
        <p:nvSpPr>
          <p:cNvPr id="9" name="Rectangle: Single Corner Snipped 8">
            <a:extLst>
              <a:ext uri="{FF2B5EF4-FFF2-40B4-BE49-F238E27FC236}">
                <a16:creationId xmlns:a16="http://schemas.microsoft.com/office/drawing/2014/main" id="{7166C798-72CE-4F2D-9A04-013F24A2659F}"/>
              </a:ext>
            </a:extLst>
          </p:cNvPr>
          <p:cNvSpPr/>
          <p:nvPr userDrawn="1"/>
        </p:nvSpPr>
        <p:spPr>
          <a:xfrm flipH="1">
            <a:off x="11549269" y="6356350"/>
            <a:ext cx="642731" cy="501650"/>
          </a:xfrm>
          <a:prstGeom prst="snip1Rect">
            <a:avLst/>
          </a:prstGeom>
          <a:gradFill>
            <a:gsLst>
              <a:gs pos="0">
                <a:srgbClr val="038B30">
                  <a:alpha val="70000"/>
                </a:srgbClr>
              </a:gs>
              <a:gs pos="50000">
                <a:srgbClr val="05EE55">
                  <a:alpha val="70000"/>
                </a:srgbClr>
              </a:gs>
              <a:gs pos="100000">
                <a:srgbClr val="C0F400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ACE58C5-CE1C-415B-8591-25A53FF2AE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9269" y="6405746"/>
            <a:ext cx="642731" cy="4078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8C2E478F-E849-4A8C-AF1F-CBCC78A7CBF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5277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4" r:id="rId3"/>
    <p:sldLayoutId id="2147483651" r:id="rId4"/>
    <p:sldLayoutId id="2147483653" r:id="rId5"/>
    <p:sldLayoutId id="2147483657" r:id="rId6"/>
    <p:sldLayoutId id="2147483663" r:id="rId7"/>
    <p:sldLayoutId id="2147483669" r:id="rId8"/>
    <p:sldLayoutId id="2147483666" r:id="rId9"/>
    <p:sldLayoutId id="2147483670" r:id="rId10"/>
    <p:sldLayoutId id="2147483667" r:id="rId11"/>
    <p:sldLayoutId id="2147483668" r:id="rId12"/>
    <p:sldLayoutId id="2147483665" r:id="rId13"/>
    <p:sldLayoutId id="2147483671" r:id="rId14"/>
    <p:sldLayoutId id="2147483655" r:id="rId15"/>
  </p:sldLayoutIdLst>
  <p:hf hd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400" b="1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3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microsoft.com/office/2007/relationships/hdphoto" Target="../media/hdphoto3.wdp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F33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Triangular design of a roof">
            <a:extLst>
              <a:ext uri="{FF2B5EF4-FFF2-40B4-BE49-F238E27FC236}">
                <a16:creationId xmlns:a16="http://schemas.microsoft.com/office/drawing/2014/main" id="{01F590AB-1AF1-489D-B942-2800AE8629C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B6C8E487-ADDC-4F1B-A30A-BAABB4998F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71015" y="0"/>
            <a:ext cx="12263015" cy="6858000"/>
          </a:xfrm>
          <a:prstGeom prst="rect">
            <a:avLst/>
          </a:prstGeom>
          <a:solidFill>
            <a:srgbClr val="2F3342">
              <a:alpha val="50000"/>
            </a:srgb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1BEC607-8474-408E-A7AC-48A065F31B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flipH="1">
            <a:off x="2076202" y="1374276"/>
            <a:ext cx="7324426" cy="3883523"/>
            <a:chOff x="252031" y="-22763"/>
            <a:chExt cx="7324426" cy="7269964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601E3FC-2016-4085-9A4B-A172702EAA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979714" y="1181211"/>
              <a:ext cx="6117771" cy="6065990"/>
            </a:xfrm>
            <a:prstGeom prst="rect">
              <a:avLst/>
            </a:prstGeom>
            <a:gradFill>
              <a:gsLst>
                <a:gs pos="0">
                  <a:srgbClr val="038B30">
                    <a:alpha val="70000"/>
                  </a:srgbClr>
                </a:gs>
                <a:gs pos="100000">
                  <a:srgbClr val="C0F400">
                    <a:alpha val="70000"/>
                  </a:srgbClr>
                </a:gs>
                <a:gs pos="50000">
                  <a:srgbClr val="05EE55">
                    <a:alpha val="70000"/>
                  </a:srgb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2CBF662F-A198-4AD3-8EBC-0EC9A52B299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500743" y="-22763"/>
              <a:ext cx="7075714" cy="5878284"/>
            </a:xfrm>
            <a:prstGeom prst="rect">
              <a:avLst/>
            </a:prstGeom>
            <a:noFill/>
            <a:ln w="1270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42E86C5-8E5F-4620-A4FB-D1F926179D1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252031" y="655467"/>
              <a:ext cx="6475341" cy="5701790"/>
            </a:xfrm>
            <a:prstGeom prst="rect">
              <a:avLst/>
            </a:prstGeom>
            <a:solidFill>
              <a:srgbClr val="2F33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7E0E8055-17FA-43CE-9F03-E712F496B7C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ARPOOL</a:t>
            </a:r>
          </a:p>
        </p:txBody>
      </p:sp>
    </p:spTree>
    <p:extLst>
      <p:ext uri="{BB962C8B-B14F-4D97-AF65-F5344CB8AC3E}">
        <p14:creationId xmlns:p14="http://schemas.microsoft.com/office/powerpoint/2010/main" val="25062102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uilding" title="Building">
            <a:extLst>
              <a:ext uri="{FF2B5EF4-FFF2-40B4-BE49-F238E27FC236}">
                <a16:creationId xmlns:a16="http://schemas.microsoft.com/office/drawing/2014/main" id="{00C713CD-79D0-408F-A140-FBAE3C60226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CCC577CF-CED3-44B1-AC3E-05C2556B41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83522" y="408327"/>
            <a:ext cx="5276606" cy="5768636"/>
            <a:chOff x="883522" y="408327"/>
            <a:chExt cx="5276606" cy="576863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75940B9-0338-4FFA-9747-10812F028FB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808217" y="1403690"/>
              <a:ext cx="4351911" cy="4773273"/>
            </a:xfrm>
            <a:prstGeom prst="rect">
              <a:avLst/>
            </a:prstGeom>
            <a:gradFill>
              <a:gsLst>
                <a:gs pos="0">
                  <a:srgbClr val="038B30">
                    <a:alpha val="70000"/>
                  </a:srgbClr>
                </a:gs>
                <a:gs pos="100000">
                  <a:srgbClr val="C0F400">
                    <a:alpha val="70000"/>
                  </a:srgbClr>
                </a:gs>
                <a:gs pos="50000">
                  <a:srgbClr val="05EE55">
                    <a:alpha val="70000"/>
                  </a:srgb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4B52C7E-3049-4545-956A-6D8F73F234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83522" y="408327"/>
              <a:ext cx="4351911" cy="4773273"/>
            </a:xfrm>
            <a:prstGeom prst="rect">
              <a:avLst/>
            </a:prstGeom>
            <a:solidFill>
              <a:srgbClr val="2F33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46669882-9FD4-41D7-A5A6-A4A2E44A2A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39938" y="1088572"/>
              <a:ext cx="4572000" cy="4572000"/>
            </a:xfrm>
            <a:prstGeom prst="rect">
              <a:avLst/>
            </a:prstGeom>
          </p:spPr>
        </p:pic>
      </p:grpSp>
      <p:sp>
        <p:nvSpPr>
          <p:cNvPr id="26" name="Title 25">
            <a:extLst>
              <a:ext uri="{FF2B5EF4-FFF2-40B4-BE49-F238E27FC236}">
                <a16:creationId xmlns:a16="http://schemas.microsoft.com/office/drawing/2014/main" id="{DB4530C3-10EF-4FDE-A1B1-9DF09C2DF0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63C256D-8187-4199-952C-D2BB841598F8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/>
              <a:t>App that gives you opportunity to travel and make new connections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5A9FF5-7F76-43F9-8EBE-606AC1E2C5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11" name="Rectangle: Single Corner Snipped 10" descr="Footer accent box">
            <a:extLst>
              <a:ext uri="{FF2B5EF4-FFF2-40B4-BE49-F238E27FC236}">
                <a16:creationId xmlns:a16="http://schemas.microsoft.com/office/drawing/2014/main" id="{A39C0937-57CD-4C2F-B530-516994363917}"/>
              </a:ext>
            </a:extLst>
          </p:cNvPr>
          <p:cNvSpPr/>
          <p:nvPr/>
        </p:nvSpPr>
        <p:spPr>
          <a:xfrm flipH="1">
            <a:off x="11549269" y="6356350"/>
            <a:ext cx="642731" cy="501650"/>
          </a:xfrm>
          <a:prstGeom prst="snip1Rect">
            <a:avLst/>
          </a:prstGeom>
          <a:gradFill>
            <a:gsLst>
              <a:gs pos="0">
                <a:srgbClr val="038B30">
                  <a:alpha val="70000"/>
                </a:srgbClr>
              </a:gs>
              <a:gs pos="50000">
                <a:srgbClr val="05EE55">
                  <a:alpha val="70000"/>
                </a:srgbClr>
              </a:gs>
              <a:gs pos="100000">
                <a:srgbClr val="C0F400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8EC366-9118-4504-88CF-ABE80F98E7F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C2E478F-E849-4A8C-AF1F-CBCC78A7CBFA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3054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City Scape" title="City Scape">
            <a:extLst>
              <a:ext uri="{FF2B5EF4-FFF2-40B4-BE49-F238E27FC236}">
                <a16:creationId xmlns:a16="http://schemas.microsoft.com/office/drawing/2014/main" id="{ED2DC372-F50D-4241-956F-88217652F91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1101DF86-6B00-49D3-9EFB-456055F798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flipH="1" flipV="1">
            <a:off x="3581400" y="451189"/>
            <a:ext cx="5276606" cy="5768636"/>
            <a:chOff x="883522" y="408327"/>
            <a:chExt cx="5276606" cy="576863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51A06BE-4DC9-42C3-9272-4EF3E833D5F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808217" y="1403690"/>
              <a:ext cx="4351911" cy="4773273"/>
            </a:xfrm>
            <a:prstGeom prst="rect">
              <a:avLst/>
            </a:prstGeom>
            <a:gradFill>
              <a:gsLst>
                <a:gs pos="0">
                  <a:srgbClr val="038B30">
                    <a:alpha val="70000"/>
                  </a:srgbClr>
                </a:gs>
                <a:gs pos="100000">
                  <a:srgbClr val="C0F400">
                    <a:alpha val="70000"/>
                  </a:srgbClr>
                </a:gs>
                <a:gs pos="50000">
                  <a:srgbClr val="05EE55">
                    <a:alpha val="70000"/>
                  </a:srgb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42A4A83C-0C6B-4A7C-B582-33988B027F1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39938" y="1088572"/>
              <a:ext cx="4572000" cy="45720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568F216-4DE5-421A-A222-041B654BB87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83522" y="408327"/>
              <a:ext cx="4351911" cy="4773273"/>
            </a:xfrm>
            <a:prstGeom prst="rect">
              <a:avLst/>
            </a:prstGeom>
            <a:solidFill>
              <a:srgbClr val="2F33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9C2EEB1E-E5B2-44FA-8D26-4D510438DD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6095" y="2507633"/>
            <a:ext cx="4351911" cy="1769608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What can I do?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F2E0D99-FB22-4130-AAF1-73D2822A328F}"/>
              </a:ext>
            </a:extLst>
          </p:cNvPr>
          <p:cNvSpPr txBox="1">
            <a:spLocks/>
          </p:cNvSpPr>
          <p:nvPr/>
        </p:nvSpPr>
        <p:spPr>
          <a:xfrm>
            <a:off x="4506095" y="4127455"/>
            <a:ext cx="4351912" cy="296437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 spc="6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en-US" dirty="0"/>
              <a:t>Create your own trip and share it with other travelers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en-US" dirty="0"/>
              <a:t>Apply for another traveler’s trip</a:t>
            </a:r>
          </a:p>
          <a:p>
            <a:pPr algn="ctr"/>
            <a:endParaRPr lang="en-US" dirty="0"/>
          </a:p>
          <a:p>
            <a:pPr algn="ctr"/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534C07A-363B-4948-8546-2503B45830D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17" name="Rectangle: Single Corner Snipped 16" descr="Footer accent box">
            <a:extLst>
              <a:ext uri="{FF2B5EF4-FFF2-40B4-BE49-F238E27FC236}">
                <a16:creationId xmlns:a16="http://schemas.microsoft.com/office/drawing/2014/main" id="{D3377F02-85FB-4FAC-AC31-CF6E323FFE3E}"/>
              </a:ext>
            </a:extLst>
          </p:cNvPr>
          <p:cNvSpPr/>
          <p:nvPr/>
        </p:nvSpPr>
        <p:spPr>
          <a:xfrm flipH="1">
            <a:off x="11549269" y="6356350"/>
            <a:ext cx="642731" cy="501650"/>
          </a:xfrm>
          <a:prstGeom prst="snip1Rect">
            <a:avLst/>
          </a:prstGeom>
          <a:gradFill>
            <a:gsLst>
              <a:gs pos="0">
                <a:srgbClr val="038B30">
                  <a:alpha val="70000"/>
                </a:srgbClr>
              </a:gs>
              <a:gs pos="50000">
                <a:srgbClr val="05EE55">
                  <a:alpha val="70000"/>
                </a:srgbClr>
              </a:gs>
              <a:gs pos="100000">
                <a:srgbClr val="C0F400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B86A7AA-7991-4038-A5AB-6D5D751095C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49268" y="6413649"/>
            <a:ext cx="642731" cy="4078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8C2E478F-E849-4A8C-AF1F-CBCC78A7CBFA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6326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5445F47-6D74-450C-BC16-998D2021AD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79DECD2-B85E-4CB3-BBFB-C64131454B65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eet new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ave mone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rn mone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lexibility</a:t>
            </a:r>
          </a:p>
          <a:p>
            <a:endParaRPr lang="en-US" dirty="0"/>
          </a:p>
        </p:txBody>
      </p:sp>
      <p:pic>
        <p:nvPicPr>
          <p:cNvPr id="5" name="Picture Placeholder 4" descr="Two Buildings" title="Two Buildings">
            <a:extLst>
              <a:ext uri="{FF2B5EF4-FFF2-40B4-BE49-F238E27FC236}">
                <a16:creationId xmlns:a16="http://schemas.microsoft.com/office/drawing/2014/main" id="{9EF82849-1FFF-4EE2-B6A4-C19B8A083067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9000" contrast="2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17BB2B3-BB1E-4588-97D3-522970C829A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10" name="Rectangle: Single Corner Snipped 9" descr="Footer accent box">
            <a:extLst>
              <a:ext uri="{FF2B5EF4-FFF2-40B4-BE49-F238E27FC236}">
                <a16:creationId xmlns:a16="http://schemas.microsoft.com/office/drawing/2014/main" id="{CDA9F8EC-2836-4D7A-8BB2-6D1C849515C1}"/>
              </a:ext>
            </a:extLst>
          </p:cNvPr>
          <p:cNvSpPr/>
          <p:nvPr/>
        </p:nvSpPr>
        <p:spPr>
          <a:xfrm flipH="1">
            <a:off x="11549269" y="6356350"/>
            <a:ext cx="642731" cy="501650"/>
          </a:xfrm>
          <a:prstGeom prst="snip1Rect">
            <a:avLst/>
          </a:prstGeom>
          <a:gradFill>
            <a:gsLst>
              <a:gs pos="0">
                <a:srgbClr val="038B30">
                  <a:alpha val="70000"/>
                </a:srgbClr>
              </a:gs>
              <a:gs pos="50000">
                <a:srgbClr val="05EE55">
                  <a:alpha val="70000"/>
                </a:srgbClr>
              </a:gs>
              <a:gs pos="100000">
                <a:srgbClr val="C0F400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5E833F-FD8B-46E5-BD16-A82D3EDA85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C2E478F-E849-4A8C-AF1F-CBCC78A7CBFA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5328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F33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Triangular design ceiling">
            <a:extLst>
              <a:ext uri="{FF2B5EF4-FFF2-40B4-BE49-F238E27FC236}">
                <a16:creationId xmlns:a16="http://schemas.microsoft.com/office/drawing/2014/main" id="{ECE6809B-9586-4FFC-9D20-26C51CA9653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B6C8E487-ADDC-4F1B-A30A-BAABB4998F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35508" y="20298"/>
            <a:ext cx="12192000" cy="6858000"/>
          </a:xfrm>
          <a:prstGeom prst="rect">
            <a:avLst/>
          </a:prstGeom>
          <a:solidFill>
            <a:srgbClr val="2F334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1BEC607-8474-408E-A7AC-48A065F31B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flipH="1">
            <a:off x="2076202" y="1389583"/>
            <a:ext cx="7324426" cy="3883523"/>
            <a:chOff x="252031" y="-22763"/>
            <a:chExt cx="7324426" cy="7269964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601E3FC-2016-4085-9A4B-A172702EAA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979714" y="1181211"/>
              <a:ext cx="6117771" cy="6065990"/>
            </a:xfrm>
            <a:prstGeom prst="rect">
              <a:avLst/>
            </a:prstGeom>
            <a:gradFill>
              <a:gsLst>
                <a:gs pos="0">
                  <a:srgbClr val="038B30">
                    <a:alpha val="70000"/>
                  </a:srgbClr>
                </a:gs>
                <a:gs pos="100000">
                  <a:srgbClr val="C0F400">
                    <a:alpha val="70000"/>
                  </a:srgbClr>
                </a:gs>
                <a:gs pos="50000">
                  <a:srgbClr val="05EE55">
                    <a:alpha val="70000"/>
                  </a:srgb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2CBF662F-A198-4AD3-8EBC-0EC9A52B299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500743" y="-22763"/>
              <a:ext cx="7075714" cy="5878284"/>
            </a:xfrm>
            <a:prstGeom prst="rect">
              <a:avLst/>
            </a:prstGeom>
            <a:noFill/>
            <a:ln w="1270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42E86C5-8E5F-4620-A4FB-D1F926179D1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252031" y="655467"/>
              <a:ext cx="6475341" cy="5701790"/>
            </a:xfrm>
            <a:prstGeom prst="rect">
              <a:avLst/>
            </a:prstGeom>
            <a:solidFill>
              <a:srgbClr val="2F33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7E0E8055-17FA-43CE-9F03-E712F496B7C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n-US" dirty="0"/>
              <a:t>THANK YOU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FE3A4F2-29CE-4C57-A172-6A0D63EFD700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95884" y="6468303"/>
            <a:ext cx="4114800" cy="365125"/>
          </a:xfrm>
        </p:spPr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25" name="Rectangle: Single Corner Snipped 24" descr="Footer accent box">
            <a:extLst>
              <a:ext uri="{FF2B5EF4-FFF2-40B4-BE49-F238E27FC236}">
                <a16:creationId xmlns:a16="http://schemas.microsoft.com/office/drawing/2014/main" id="{ADA66B68-D364-4C11-9AA9-052CEAC914E1}"/>
              </a:ext>
            </a:extLst>
          </p:cNvPr>
          <p:cNvSpPr/>
          <p:nvPr/>
        </p:nvSpPr>
        <p:spPr>
          <a:xfrm flipH="1">
            <a:off x="11549269" y="6356350"/>
            <a:ext cx="642731" cy="501650"/>
          </a:xfrm>
          <a:prstGeom prst="snip1Rect">
            <a:avLst/>
          </a:prstGeom>
          <a:gradFill>
            <a:gsLst>
              <a:gs pos="0">
                <a:srgbClr val="038B30">
                  <a:alpha val="70000"/>
                </a:srgbClr>
              </a:gs>
              <a:gs pos="50000">
                <a:srgbClr val="05EE55">
                  <a:alpha val="70000"/>
                </a:srgbClr>
              </a:gs>
              <a:gs pos="100000">
                <a:srgbClr val="C0F400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7B17F9E2-0E31-4010-80D8-F343F24E6E1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49268" y="6413649"/>
            <a:ext cx="642731" cy="4078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8C2E478F-E849-4A8C-AF1F-CBCC78A7CBFA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789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IAAAAAAAAAAwAAAAMAAAAA/////wQAPwwAAAAAAAAAAAAAIAD///////////////8AAAD///////////////8DAAAAAw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qh8QBFnNHh6EjjPDF334FAAAAAAADAAAAAwADAAAAAQADAAAAAAD///////8DAAEA////////BAAAAAMAEAALr27OUIdLkU6IMQosVVXL+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Jlqh8QBFnNHh6EjjPDF334DRGF0YQAbAAAABExpbmtlZFNoYXBlRGF0YQAFAAAAAAACTmFtZQAZAAAATGlua2VkU2hhcGVzRGF0YVByb3BlcnR5ABBWZXJzaW9uAAAAAAAJTGFzdFdyaXRlAIN31Id7AQAAAAEA/////50AnQAAAAVfaWQAEAAAAASvbs5Qh0uRTogxCixVVcv7A0RhdGEAKgAAAAhQcmVzZW50YXRpb25TY2FubmVkRm9yTGlua2VkU2hhcGVzAAEAAk5hbWUAJAAAAExpbmtlZFNoYXBlUHJlc2VudGF0aW9uU2V0dGluZ3NEYXRhABBWZXJzaW9uAAAAAAAJTGFzdFdyaXRlALh31Id7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Custom 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0F400"/>
      </a:accent1>
      <a:accent2>
        <a:srgbClr val="05D74D"/>
      </a:accent2>
      <a:accent3>
        <a:srgbClr val="2F3342"/>
      </a:accent3>
      <a:accent4>
        <a:srgbClr val="038B30"/>
      </a:accent4>
      <a:accent5>
        <a:srgbClr val="05EE55"/>
      </a:accent5>
      <a:accent6>
        <a:srgbClr val="70AD47"/>
      </a:accent6>
      <a:hlink>
        <a:srgbClr val="05D74D"/>
      </a:hlink>
      <a:folHlink>
        <a:srgbClr val="C0F400"/>
      </a:folHlink>
    </a:clrScheme>
    <a:fontScheme name="Custom 5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F34357351_Dark modernist presentation_mlw -v2" id="{02C8D846-7DC8-4EFF-94D8-823DF779E3A7}" vid="{402D83F6-A512-43E7-B905-390BB489C07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71af3243-3dd4-4a8d-8c0d-dd76da1f02a5">Not started</Status>
    <MediaServiceKeyPoints xmlns="71af3243-3dd4-4a8d-8c0d-dd76da1f02a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2" ma:contentTypeDescription="Create a new document." ma:contentTypeScope="" ma:versionID="7f9b5e87859ce6d7eedbdc6e4e4205ca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a5e0075ee7624d6a846e01eb61837427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71340EA-4D3D-470F-B5D6-C0F623079401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customXml/itemProps2.xml><?xml version="1.0" encoding="utf-8"?>
<ds:datastoreItem xmlns:ds="http://schemas.openxmlformats.org/officeDocument/2006/customXml" ds:itemID="{26A0F1FB-B1B3-48EC-BFEE-FC0094A34C2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B834546-CF5A-40F0-B105-33C88EC0593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ark modernist presentation</Template>
  <TotalTime>0</TotalTime>
  <Words>62</Words>
  <Application>Microsoft Office PowerPoint</Application>
  <PresentationFormat>Widescreen</PresentationFormat>
  <Paragraphs>22</Paragraphs>
  <Slides>5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8" baseType="lpstr">
      <vt:lpstr>Arial</vt:lpstr>
      <vt:lpstr>Calibri</vt:lpstr>
      <vt:lpstr>Office Theme</vt:lpstr>
      <vt:lpstr>CARPOOL</vt:lpstr>
      <vt:lpstr>Summary</vt:lpstr>
      <vt:lpstr>What can I do?</vt:lpstr>
      <vt:lpstr>Miss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POOL</dc:title>
  <dc:creator>Borisova, Monika</dc:creator>
  <cp:lastModifiedBy>Borisova, Monika</cp:lastModifiedBy>
  <cp:revision>2</cp:revision>
  <dcterms:created xsi:type="dcterms:W3CDTF">2021-08-27T13:37:30Z</dcterms:created>
  <dcterms:modified xsi:type="dcterms:W3CDTF">2021-08-29T13:03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